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1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09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rthur </a:t>
            </a:r>
            <a:r>
              <a:rPr lang="en-US" sz="4000" dirty="0" err="1"/>
              <a:t>Segard</a:t>
            </a:r>
            <a:r>
              <a:rPr lang="en-US" sz="4000" dirty="0"/>
              <a:t> – Mission Lead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42934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at McKinsey &amp; Company, </a:t>
            </a:r>
            <a:r>
              <a:rPr lang="en-US" sz="1200" dirty="0"/>
              <a:t>Casablanca &amp; Paris with a strong focus on Africa serving in Côte d‘Ivoire, France, Gabon, Mauritius, Morocco and Togo, with responsibility up to project manager level, e.g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large organizational change for a multinational financial institution, including the establishment of new shared services hub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Led sub-sector analysis and the development of a strategic vision for an industrial and financial conglomerate, involving the redeployment of their portfolio as well as digitalization projec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ssessed the impact of a large infrastructure project, with a focus on risk mitigat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multilateral coordination in the deployment of a large industrial investment involving a large SOE and its supplier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/>
              <a:t>Before working in consulting, Arthur worked as an </a:t>
            </a:r>
            <a:r>
              <a:rPr lang="en-US" sz="1200" dirty="0">
                <a:solidFill>
                  <a:srgbClr val="FF0000"/>
                </a:solidFill>
              </a:rPr>
              <a:t>Economist </a:t>
            </a:r>
            <a:r>
              <a:rPr lang="en-US" sz="1200" dirty="0"/>
              <a:t>in charge of sector-specific macroeconomic forecasting, as a </a:t>
            </a:r>
            <a:r>
              <a:rPr lang="en-US" sz="1200" dirty="0">
                <a:solidFill>
                  <a:srgbClr val="FF0000"/>
                </a:solidFill>
              </a:rPr>
              <a:t>Policy Analyst</a:t>
            </a:r>
            <a:r>
              <a:rPr lang="en-US" sz="1200" dirty="0"/>
              <a:t> for an international think tank, and managed operations for an emergency relief NGO (funded by UNICEF, EuropeAid, USAID, DFID, AFD…) in the warzones of Darfur, Sudan and Kivu, DR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1467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rthur holds a </a:t>
            </a:r>
            <a:r>
              <a:rPr lang="en-US" sz="1200" dirty="0">
                <a:solidFill>
                  <a:srgbClr val="FF0000"/>
                </a:solidFill>
              </a:rPr>
              <a:t>Master’s Degree of Sciences</a:t>
            </a:r>
            <a:r>
              <a:rPr lang="en-US" sz="1200" dirty="0">
                <a:solidFill>
                  <a:prstClr val="black"/>
                </a:solidFill>
              </a:rPr>
              <a:t> from </a:t>
            </a:r>
            <a:r>
              <a:rPr lang="en-US" sz="1200" dirty="0">
                <a:solidFill>
                  <a:srgbClr val="FF0000"/>
                </a:solidFill>
              </a:rPr>
              <a:t>Po</a:t>
            </a:r>
            <a:r>
              <a:rPr lang="en-US" sz="1200" dirty="0">
                <a:solidFill>
                  <a:prstClr val="black"/>
                </a:solidFill>
              </a:rPr>
              <a:t> Paris, with a major in Macroeconomics; he spent a year as an exchange student at the Universität </a:t>
            </a:r>
            <a:r>
              <a:rPr lang="en-US" sz="1200" dirty="0" err="1">
                <a:solidFill>
                  <a:prstClr val="black"/>
                </a:solidFill>
              </a:rPr>
              <a:t>zu</a:t>
            </a:r>
            <a:r>
              <a:rPr lang="en-US" sz="1200" dirty="0">
                <a:solidFill>
                  <a:prstClr val="black"/>
                </a:solidFill>
              </a:rPr>
              <a:t> Köln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 </a:t>
            </a:r>
            <a:r>
              <a:rPr lang="en-US" sz="1200" dirty="0">
                <a:solidFill>
                  <a:srgbClr val="FF0000"/>
                </a:solidFill>
              </a:rPr>
              <a:t>Master’s Degree in Financial Law, </a:t>
            </a:r>
            <a:r>
              <a:rPr lang="en-US" sz="1200" dirty="0"/>
              <a:t>jointly awarded by </a:t>
            </a:r>
            <a:r>
              <a:rPr lang="en-US" sz="1200" dirty="0" err="1">
                <a:solidFill>
                  <a:srgbClr val="FF0000"/>
                </a:solidFill>
              </a:rPr>
              <a:t>Faculté</a:t>
            </a:r>
            <a:r>
              <a:rPr lang="en-US" sz="1200" dirty="0">
                <a:solidFill>
                  <a:srgbClr val="FF0000"/>
                </a:solidFill>
              </a:rPr>
              <a:t> Jean Monnet and ESCP Europe; </a:t>
            </a:r>
            <a:r>
              <a:rPr lang="en-US" sz="1200" dirty="0"/>
              <a:t>he completed 2 internships (Legal Department and Market Floor) at Société Générale Investment Banking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rthur speaks French and English fluently and is able to have professional conversations in German. He has basic knowledge in Swahil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369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 former McKinsey Engagement Manager with prior field operations management experience in Africa, Arthur can bring together a holistic strategic vision  and pragmatic hands-on problem solving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FFEA02E-6BA9-CA45-B80F-8C62538255F2}"/>
              </a:ext>
            </a:extLst>
          </p:cNvPr>
          <p:cNvSpPr/>
          <p:nvPr/>
        </p:nvSpPr>
        <p:spPr>
          <a:xfrm>
            <a:off x="8324850" y="440347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To make the world a better place, getting the local economic equation right is key; I am passionate about solving complex issues to unlock economic development trajectories.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64E859-4665-8B4F-9EEF-40D7C678A587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75A8F84-4BD5-4242-95AB-E3E7CC059FB1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4ACC8D-D292-204B-8C9A-0590FEF6C818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51" name="Graphic 21">
              <a:extLst>
                <a:ext uri="{FF2B5EF4-FFF2-40B4-BE49-F238E27FC236}">
                  <a16:creationId xmlns:a16="http://schemas.microsoft.com/office/drawing/2014/main" id="{808148FC-17E0-4C46-AF45-71FF29428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69193791-A45C-42C1-9D87-A98E7A3B3AE5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866347D4-FCFE-45AC-A79D-3CB432BEC30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F42ADEF9-B885-4544-8BAE-836F7AF41F21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F5C2C459-F66E-4220-8CBD-25A164A858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4CFE0362-02B9-4140-A6DD-C6B631E8F0A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5185C73-2F44-4E99-AA27-F23A6EB5D6A6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6685826-5FF3-4846-B97F-CB6A1DAA6CE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 t="9593" b="959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0559055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41</Words>
  <Application>Microsoft Macintosh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rthur Segard – Mission Lea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20:33Z</dcterms:modified>
</cp:coreProperties>
</file>